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498585407379988</c:v>
                </c:pt>
                <c:pt idx="1">
                  <c:v>32.587658697368553</c:v>
                </c:pt>
                <c:pt idx="2">
                  <c:v>34.766065349416607</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405156999999999</c:v>
                </c:pt>
                <c:pt idx="1">
                  <c:v>4.6410800000000023</c:v>
                </c:pt>
                <c:pt idx="2">
                  <c:v>4.1445989999999995</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5.903742407379987</c:v>
                </c:pt>
                <c:pt idx="1">
                  <c:v>37.228738697368556</c:v>
                </c:pt>
                <c:pt idx="2">
                  <c:v>38.910664349416606</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7.250329365516222</c:v>
                </c:pt>
                <c:pt idx="1">
                  <c:v>101.02006195686388</c:v>
                </c:pt>
                <c:pt idx="2">
                  <c:v>100.265530224465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4403213465952565</c:v>
                </c:pt>
                <c:pt idx="1">
                  <c:v>99.47036688617122</c:v>
                </c:pt>
                <c:pt idx="2">
                  <c:v>93.18301547934662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0.690650712111491</c:v>
                </c:pt>
                <c:pt idx="1">
                  <c:v>200.49042884303509</c:v>
                </c:pt>
                <c:pt idx="2">
                  <c:v>193.4485457038126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100.26553022446599</c:v>
                </c:pt>
                <c:pt idx="2">
                  <c:v>57.910641311976086</c:v>
                </c:pt>
                <c:pt idx="3">
                  <c:v>83.250274976917794</c:v>
                </c:pt>
                <c:pt idx="4">
                  <c:v>78.34845710133655</c:v>
                </c:pt>
                <c:pt idx="5">
                  <c:v>107.73969086126674</c:v>
                </c:pt>
                <c:pt idx="7">
                  <c:v>81.812266062874286</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93.183015479346622</c:v>
                </c:pt>
                <c:pt idx="2">
                  <c:v>38.395728321230244</c:v>
                </c:pt>
                <c:pt idx="3">
                  <c:v>133.3158142924508</c:v>
                </c:pt>
                <c:pt idx="4">
                  <c:v>51.575093760654617</c:v>
                </c:pt>
                <c:pt idx="5">
                  <c:v>117.92623869021973</c:v>
                </c:pt>
                <c:pt idx="7">
                  <c:v>85.303218766138855</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193.44854570381261</c:v>
                </c:pt>
                <c:pt idx="2">
                  <c:v>96.306369633206316</c:v>
                </c:pt>
                <c:pt idx="3">
                  <c:v>216.5660892693686</c:v>
                </c:pt>
                <c:pt idx="4">
                  <c:v>129.92355086199117</c:v>
                </c:pt>
                <c:pt idx="5">
                  <c:v>225.66592955148647</c:v>
                </c:pt>
                <c:pt idx="7">
                  <c:v>167.11548482901313</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1335882486531346</c:v>
                </c:pt>
                <c:pt idx="2">
                  <c:v>2.3742628407209709</c:v>
                </c:pt>
                <c:pt idx="3">
                  <c:v>2.3769997995177694</c:v>
                </c:pt>
                <c:pt idx="4">
                  <c:v>2.4433921689232183</c:v>
                </c:pt>
                <c:pt idx="6">
                  <c:v>4.4643330396336083</c:v>
                </c:pt>
                <c:pt idx="7">
                  <c:v>4.4643330396336083</c:v>
                </c:pt>
                <c:pt idx="8">
                  <c:v>4.4787799041552185</c:v>
                </c:pt>
                <c:pt idx="9">
                  <c:v>4.523987689829361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0526512486531345</c:v>
                </c:pt>
                <c:pt idx="5">
                  <c:v>2.3624551689232187</c:v>
                </c:pt>
                <c:pt idx="10">
                  <c:v>2.344809689829361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4067459206783659</c:v>
                </c:pt>
                <c:pt idx="2">
                  <c:v>2.7369587967986104E-3</c:v>
                </c:pt>
                <c:pt idx="3">
                  <c:v>6.6392369405448959E-2</c:v>
                </c:pt>
                <c:pt idx="7">
                  <c:v>1.4446864521610208E-2</c:v>
                </c:pt>
                <c:pt idx="8">
                  <c:v>0.192243785674142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0.2243361292896099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0936999999999995E-2</c:v>
                </c:pt>
                <c:pt idx="5">
                  <c:v>2.3262139999999998</c:v>
                </c:pt>
                <c:pt idx="10">
                  <c:v>2.179177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2452769999999997</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14703599999999994</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1335882486531346</c:v>
                </c:pt>
                <c:pt idx="5">
                  <c:v>4.6886691689232185</c:v>
                </c:pt>
                <c:pt idx="10">
                  <c:v>4.523987689829361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Klantenpotentieel regionaal</c:v>
                </c:pt>
                <c:pt idx="6">
                  <c:v>Loonkostensubsidie</c:v>
                </c:pt>
                <c:pt idx="7">
                  <c:v>Omgevingsadressendichtheid</c:v>
                </c:pt>
                <c:pt idx="10">
                  <c:v>Overig</c:v>
                </c:pt>
              </c:strCache>
            </c:strRef>
          </c:cat>
          <c:val>
            <c:numRef>
              <c:f>Sheet1!$B$2:$B$12</c:f>
              <c:numCache>
                <c:formatCode>General</c:formatCode>
                <c:ptCount val="11"/>
                <c:pt idx="0">
                  <c:v>0.87475102624000123</c:v>
                </c:pt>
                <c:pt idx="1">
                  <c:v>0.59153688921600012</c:v>
                </c:pt>
                <c:pt idx="2">
                  <c:v>0.28876845712000004</c:v>
                </c:pt>
                <c:pt idx="3">
                  <c:v>0.24627403581352006</c:v>
                </c:pt>
                <c:pt idx="4">
                  <c:v>0.14507651808000005</c:v>
                </c:pt>
                <c:pt idx="5">
                  <c:v>0.116969138</c:v>
                </c:pt>
                <c:pt idx="6">
                  <c:v>4.0952424760000002E-2</c:v>
                </c:pt>
                <c:pt idx="7">
                  <c:v>4.0481200599840006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088768</c:v>
                </c:pt>
                <c:pt idx="1">
                  <c:v>6.1176000000000001E-2</c:v>
                </c:pt>
                <c:pt idx="2">
                  <c:v>2.9234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1644971382806681</c:v>
                </c:pt>
                <c:pt idx="1">
                  <c:v>0.53105745818218653</c:v>
                </c:pt>
                <c:pt idx="2">
                  <c:v>0.5763116582892934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7386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1644971382806681</c:v>
                </c:pt>
                <c:pt idx="1">
                  <c:v>0.53105745818218653</c:v>
                </c:pt>
                <c:pt idx="2">
                  <c:v>0.6036976582892934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952295920601326</c:v>
                </c:pt>
                <c:pt idx="1">
                  <c:v>22.708349362104954</c:v>
                </c:pt>
                <c:pt idx="2">
                  <c:v>24.64344728851849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71042504062259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952295920601326</c:v>
                </c:pt>
                <c:pt idx="1">
                  <c:v>22.708349362104954</c:v>
                </c:pt>
                <c:pt idx="2">
                  <c:v>25.81448979258075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24.643447288518491</c:v>
                </c:pt>
                <c:pt idx="2">
                  <c:v>21.8984469591337</c:v>
                </c:pt>
                <c:pt idx="3">
                  <c:v>24.268464498843976</c:v>
                </c:pt>
                <c:pt idx="4">
                  <c:v>23.927941153635075</c:v>
                </c:pt>
                <c:pt idx="5">
                  <c:v>25.78635440604797</c:v>
                </c:pt>
                <c:pt idx="7">
                  <c:v>23.970301754415182</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1.1710425040622594</c:v>
                </c:pt>
                <c:pt idx="2">
                  <c:v>1.15403673643742</c:v>
                </c:pt>
                <c:pt idx="3">
                  <c:v>1.1537274403052258</c:v>
                </c:pt>
                <c:pt idx="4">
                  <c:v>1.1459682918513467</c:v>
                </c:pt>
                <c:pt idx="5">
                  <c:v>4.6734166307626026</c:v>
                </c:pt>
                <c:pt idx="7">
                  <c:v>2.0317872748391488</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25.814489792580751</c:v>
                </c:pt>
                <c:pt idx="2">
                  <c:v>23.052483695571119</c:v>
                </c:pt>
                <c:pt idx="3">
                  <c:v>25.422191939149201</c:v>
                </c:pt>
                <c:pt idx="4">
                  <c:v>25.073909445486422</c:v>
                </c:pt>
                <c:pt idx="5">
                  <c:v>30.459771036810565</c:v>
                </c:pt>
                <c:pt idx="7">
                  <c:v>26.002089029254329</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5011554410121152</c:v>
                </c:pt>
                <c:pt idx="2">
                  <c:v>0.45011554410121152</c:v>
                </c:pt>
                <c:pt idx="3">
                  <c:v>0.45698573651496138</c:v>
                </c:pt>
                <c:pt idx="4">
                  <c:v>0.53105745818218653</c:v>
                </c:pt>
                <c:pt idx="6">
                  <c:v>0.52663017961996106</c:v>
                </c:pt>
                <c:pt idx="7">
                  <c:v>0.52663017961996106</c:v>
                </c:pt>
                <c:pt idx="8">
                  <c:v>0.54998262772516615</c:v>
                </c:pt>
                <c:pt idx="9">
                  <c:v>0.5763116582892934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1644971382806681</c:v>
                </c:pt>
                <c:pt idx="5">
                  <c:v>0.53105745818218653</c:v>
                </c:pt>
                <c:pt idx="10">
                  <c:v>0.5763116582892934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8701924137498831E-3</c:v>
                </c:pt>
                <c:pt idx="3">
                  <c:v>7.4071721667225102E-2</c:v>
                </c:pt>
                <c:pt idx="7">
                  <c:v>2.3352448105205089E-2</c:v>
                </c:pt>
                <c:pt idx="8">
                  <c:v>2.632903056412730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6334169726855283E-2</c:v>
                </c:pt>
                <c:pt idx="6">
                  <c:v>4.4272785622254847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7386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7386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1644971382806681</c:v>
                </c:pt>
                <c:pt idx="5">
                  <c:v>0.53105745818218653</c:v>
                </c:pt>
                <c:pt idx="10">
                  <c:v>0.6036976582892934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Jongeren</c:v>
                </c:pt>
                <c:pt idx="2">
                  <c:v>Huishoudens met laag inkomen (drempel)</c:v>
                </c:pt>
                <c:pt idx="3">
                  <c:v>Eenouderhuishoudens</c:v>
                </c:pt>
                <c:pt idx="4">
                  <c:v>Huishoudens</c:v>
                </c:pt>
                <c:pt idx="5">
                  <c:v>Omgevingsadressendichtheid</c:v>
                </c:pt>
                <c:pt idx="6">
                  <c:v>Bijstandsontvangers</c:v>
                </c:pt>
                <c:pt idx="7">
                  <c:v>Minderheden</c:v>
                </c:pt>
                <c:pt idx="8">
                  <c:v>Ouderen</c:v>
                </c:pt>
                <c:pt idx="9">
                  <c:v>Klantenpotentieel lokaal</c:v>
                </c:pt>
                <c:pt idx="10">
                  <c:v>Overig</c:v>
                </c:pt>
              </c:strCache>
            </c:strRef>
          </c:cat>
          <c:val>
            <c:numRef>
              <c:f>Sheet1!$B$2:$B$12</c:f>
              <c:numCache>
                <c:formatCode>General</c:formatCode>
                <c:ptCount val="11"/>
                <c:pt idx="0">
                  <c:v>0.11196374904</c:v>
                </c:pt>
                <c:pt idx="1">
                  <c:v>0.10221767763999999</c:v>
                </c:pt>
                <c:pt idx="2">
                  <c:v>9.5685995496000001E-2</c:v>
                </c:pt>
                <c:pt idx="3">
                  <c:v>4.3417253360000005E-2</c:v>
                </c:pt>
                <c:pt idx="4">
                  <c:v>3.3484463999999999E-2</c:v>
                </c:pt>
                <c:pt idx="5">
                  <c:v>2.8861596723960006E-2</c:v>
                </c:pt>
                <c:pt idx="6">
                  <c:v>2.3892816826666701E-2</c:v>
                </c:pt>
                <c:pt idx="7">
                  <c:v>2.2765228199999998E-2</c:v>
                </c:pt>
                <c:pt idx="8">
                  <c:v>1.8257834400000002E-2</c:v>
                </c:pt>
                <c:pt idx="9">
                  <c:v>1.8210441600000002E-2</c:v>
                </c:pt>
                <c:pt idx="10">
                  <c:v>7.75546010026667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56.32854745303018</c:v>
                </c:pt>
                <c:pt idx="1">
                  <c:v>1393.4686862810465</c:v>
                </c:pt>
                <c:pt idx="2">
                  <c:v>1486.6187184390919</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69.80179376009517</c:v>
                </c:pt>
                <c:pt idx="1">
                  <c:v>198.45548618831788</c:v>
                </c:pt>
                <c:pt idx="2">
                  <c:v>177.22564782348411</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26.1303412131253</c:v>
                </c:pt>
                <c:pt idx="1">
                  <c:v>1591.9241724693643</c:v>
                </c:pt>
                <c:pt idx="2">
                  <c:v>1663.844366262575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7386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3797468314753345</c:v>
                </c:pt>
                <c:pt idx="1">
                  <c:v>3.7502013636997362</c:v>
                </c:pt>
                <c:pt idx="2">
                  <c:v>3.81159618815864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97601400000000005</c:v>
                </c:pt>
                <c:pt idx="2">
                  <c:v>0.7028219999999999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3797468314753345</c:v>
                </c:pt>
                <c:pt idx="1">
                  <c:v>4.7262153636997359</c:v>
                </c:pt>
                <c:pt idx="2">
                  <c:v>4.514418188158647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6.50674076716896</c:v>
                </c:pt>
                <c:pt idx="1">
                  <c:v>1024.9252155506247</c:v>
                </c:pt>
                <c:pt idx="2">
                  <c:v>1041.70434221335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66.74337250614923</c:v>
                </c:pt>
                <c:pt idx="2">
                  <c:v>192.0803498223558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6.50674076716896</c:v>
                </c:pt>
                <c:pt idx="1">
                  <c:v>1291.6685880567741</c:v>
                </c:pt>
                <c:pt idx="2">
                  <c:v>1233.7846920357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1041.7043422133502</c:v>
                </c:pt>
                <c:pt idx="2">
                  <c:v>658.19649702237655</c:v>
                </c:pt>
                <c:pt idx="3">
                  <c:v>1226.9497431651509</c:v>
                </c:pt>
                <c:pt idx="4">
                  <c:v>886.73701952494014</c:v>
                </c:pt>
                <c:pt idx="5">
                  <c:v>1035.4990853228592</c:v>
                </c:pt>
                <c:pt idx="7">
                  <c:v>951.8455862588316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192.08034982235583</c:v>
                </c:pt>
                <c:pt idx="2">
                  <c:v>56.490395697272376</c:v>
                </c:pt>
                <c:pt idx="3">
                  <c:v>109.30392609699769</c:v>
                </c:pt>
                <c:pt idx="4">
                  <c:v>88.846000000000004</c:v>
                </c:pt>
                <c:pt idx="5">
                  <c:v>225.6669358094469</c:v>
                </c:pt>
                <c:pt idx="7">
                  <c:v>120.07681440092924</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1233.784692035706</c:v>
                </c:pt>
                <c:pt idx="2">
                  <c:v>714.68689271964888</c:v>
                </c:pt>
                <c:pt idx="3">
                  <c:v>1336.2536692621486</c:v>
                </c:pt>
                <c:pt idx="4">
                  <c:v>975.58301952494014</c:v>
                </c:pt>
                <c:pt idx="5">
                  <c:v>1261.166021132306</c:v>
                </c:pt>
                <c:pt idx="7">
                  <c:v>1071.922400659761</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922950073366464</c:v>
                </c:pt>
                <c:pt idx="2">
                  <c:v>0.6922950073366464</c:v>
                </c:pt>
                <c:pt idx="3">
                  <c:v>3.7297038308608426</c:v>
                </c:pt>
                <c:pt idx="4">
                  <c:v>3.7502013636997362</c:v>
                </c:pt>
                <c:pt idx="6">
                  <c:v>4.691197366253772</c:v>
                </c:pt>
                <c:pt idx="7">
                  <c:v>4.6175770734903079</c:v>
                </c:pt>
                <c:pt idx="8">
                  <c:v>4.6175770734903079</c:v>
                </c:pt>
                <c:pt idx="9">
                  <c:v>4.514418188158647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3797468314753345</c:v>
                </c:pt>
                <c:pt idx="5">
                  <c:v>3.7502013636997362</c:v>
                </c:pt>
                <c:pt idx="10">
                  <c:v>3.81159618815864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0374088235241961</c:v>
                </c:pt>
                <c:pt idx="3">
                  <c:v>2.0497532838893471E-2</c:v>
                </c:pt>
                <c:pt idx="8">
                  <c:v>0.1700331146683394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567967581088709E-2</c:v>
                </c:pt>
                <c:pt idx="6">
                  <c:v>3.5017997445963484E-2</c:v>
                </c:pt>
                <c:pt idx="7">
                  <c:v>7.362029276346421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97601400000000005</c:v>
                </c:pt>
                <c:pt idx="10">
                  <c:v>0.70282199999999995</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97601400000000005</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273192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3797468314753345</c:v>
                </c:pt>
                <c:pt idx="5">
                  <c:v>4.7262153636997359</c:v>
                </c:pt>
                <c:pt idx="10">
                  <c:v>4.514418188158647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oudens)</c:v>
                </c:pt>
                <c:pt idx="2">
                  <c:v>Uitkeringsont. min. bijstandsont.</c:v>
                </c:pt>
                <c:pt idx="3">
                  <c:v>Gem. gestand. inkomen (huish. kinderen)</c:v>
                </c:pt>
                <c:pt idx="4">
                  <c:v>Eenouderhuishoudens</c:v>
                </c:pt>
                <c:pt idx="5">
                  <c:v>Ouders lang psychisch medicijngebruik</c:v>
                </c:pt>
                <c:pt idx="6">
                  <c:v>Eenouderhuishoudens 2 of meer kinderen</c:v>
                </c:pt>
                <c:pt idx="7">
                  <c:v>BO leerlingen, leerlingengewicht 0,3</c:v>
                </c:pt>
                <c:pt idx="8">
                  <c:v>Huishoudens laag inkomen (drempel)</c:v>
                </c:pt>
                <c:pt idx="9">
                  <c:v>Jeugdigen in gezinnen armoederisico</c:v>
                </c:pt>
                <c:pt idx="10">
                  <c:v>Overig</c:v>
                </c:pt>
              </c:strCache>
            </c:strRef>
          </c:cat>
          <c:val>
            <c:numRef>
              <c:f>Sheet1!$B$2:$B$12</c:f>
              <c:numCache>
                <c:formatCode>General</c:formatCode>
                <c:ptCount val="11"/>
                <c:pt idx="0">
                  <c:v>3.0083140292400001</c:v>
                </c:pt>
                <c:pt idx="1">
                  <c:v>-1.449007272232</c:v>
                </c:pt>
                <c:pt idx="2">
                  <c:v>1.4264958115200002</c:v>
                </c:pt>
                <c:pt idx="3">
                  <c:v>-1.0668173307792002</c:v>
                </c:pt>
                <c:pt idx="4">
                  <c:v>0.68904864236000007</c:v>
                </c:pt>
                <c:pt idx="5">
                  <c:v>0.53331671884358189</c:v>
                </c:pt>
                <c:pt idx="6">
                  <c:v>0.39974034255999996</c:v>
                </c:pt>
                <c:pt idx="7">
                  <c:v>-0.23848937111999999</c:v>
                </c:pt>
                <c:pt idx="8">
                  <c:v>0.17982256874400002</c:v>
                </c:pt>
                <c:pt idx="9">
                  <c:v>0.15945556626896001</c:v>
                </c:pt>
                <c:pt idx="10">
                  <c:v>0.1697164827533059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72464300000000004</c:v>
                </c:pt>
                <c:pt idx="1">
                  <c:v>0</c:v>
                </c:pt>
                <c:pt idx="6">
                  <c:v>-2.182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399801420067672</c:v>
                </c:pt>
                <c:pt idx="1">
                  <c:v>9.1845536397108098</c:v>
                </c:pt>
                <c:pt idx="2">
                  <c:v>9.888860275430214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2611539999999999</c:v>
                </c:pt>
                <c:pt idx="1">
                  <c:v>0</c:v>
                </c:pt>
                <c:pt idx="2">
                  <c:v>1.659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4011341420067671</c:v>
                </c:pt>
                <c:pt idx="1">
                  <c:v>9.1845536397108098</c:v>
                </c:pt>
                <c:pt idx="2">
                  <c:v>9.90545027543021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46850896908813</c:v>
                </c:pt>
                <c:pt idx="1">
                  <c:v>392.73726330756904</c:v>
                </c:pt>
                <c:pt idx="2">
                  <c:v>422.8538559578472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6.112981382300433</c:v>
                </c:pt>
                <c:pt idx="1">
                  <c:v>0</c:v>
                </c:pt>
                <c:pt idx="2">
                  <c:v>0.7093987855982211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9.58149035138854</c:v>
                </c:pt>
                <c:pt idx="1">
                  <c:v>392.73726330756904</c:v>
                </c:pt>
                <c:pt idx="2">
                  <c:v>423.5632547434454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422.85385595784726</c:v>
                </c:pt>
                <c:pt idx="2">
                  <c:v>287.09231991096664</c:v>
                </c:pt>
                <c:pt idx="3">
                  <c:v>394.46936652345659</c:v>
                </c:pt>
                <c:pt idx="4">
                  <c:v>359.45200094076768</c:v>
                </c:pt>
                <c:pt idx="5">
                  <c:v>368.29126479162153</c:v>
                </c:pt>
                <c:pt idx="7">
                  <c:v>352.32623804170305</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0.70939878559822112</c:v>
                </c:pt>
                <c:pt idx="2">
                  <c:v>1.1136266552755232</c:v>
                </c:pt>
                <c:pt idx="3">
                  <c:v>0.71119303811034429</c:v>
                </c:pt>
                <c:pt idx="4">
                  <c:v>1.4140811455847255</c:v>
                </c:pt>
                <c:pt idx="5">
                  <c:v>1.3274450667815596</c:v>
                </c:pt>
                <c:pt idx="7">
                  <c:v>1.1415864764380381</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423.56325474344544</c:v>
                </c:pt>
                <c:pt idx="2">
                  <c:v>288.20594656624218</c:v>
                </c:pt>
                <c:pt idx="3">
                  <c:v>395.18055956156701</c:v>
                </c:pt>
                <c:pt idx="4">
                  <c:v>360.86608208635238</c:v>
                </c:pt>
                <c:pt idx="5">
                  <c:v>369.61870985840318</c:v>
                </c:pt>
                <c:pt idx="7">
                  <c:v>353.46782451814119</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89410014502889201</c:v>
                </c:pt>
                <c:pt idx="1">
                  <c:v>0.89025936669910799</c:v>
                </c:pt>
                <c:pt idx="2">
                  <c:v>0.89157740916156281</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89410014502889201</c:v>
                </c:pt>
                <c:pt idx="1">
                  <c:v>0.89025936669910799</c:v>
                </c:pt>
                <c:pt idx="2">
                  <c:v>0.89157740916156281</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4011341420067671</c:v>
                </c:pt>
                <c:pt idx="2">
                  <c:v>5.420879276074829</c:v>
                </c:pt>
                <c:pt idx="3">
                  <c:v>10.997392543839242</c:v>
                </c:pt>
                <c:pt idx="4">
                  <c:v>9.1845536397108098</c:v>
                </c:pt>
                <c:pt idx="6">
                  <c:v>9.1845536397108098</c:v>
                </c:pt>
                <c:pt idx="7">
                  <c:v>9.416207135577892</c:v>
                </c:pt>
                <c:pt idx="8">
                  <c:v>9.4326781933802479</c:v>
                </c:pt>
                <c:pt idx="9">
                  <c:v>9.888860275430216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399801420067672</c:v>
                </c:pt>
                <c:pt idx="5">
                  <c:v>9.1845536397108098</c:v>
                </c:pt>
                <c:pt idx="10">
                  <c:v>9.888860275430214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9745134068062043E-2</c:v>
                </c:pt>
                <c:pt idx="2">
                  <c:v>5.5765132677644127</c:v>
                </c:pt>
                <c:pt idx="3">
                  <c:v>0.44831509587156837</c:v>
                </c:pt>
                <c:pt idx="6">
                  <c:v>0.23165349586708167</c:v>
                </c:pt>
                <c:pt idx="7">
                  <c:v>1.6471057802355245E-2</c:v>
                </c:pt>
                <c:pt idx="8">
                  <c:v>0.4561820820499681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2611539999999999</c:v>
                </c:pt>
                <c:pt idx="5">
                  <c:v>0</c:v>
                </c:pt>
                <c:pt idx="10">
                  <c:v>1.6590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6590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2611539999999999</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4011341420067671</c:v>
                </c:pt>
                <c:pt idx="5">
                  <c:v>9.1845536397108098</c:v>
                </c:pt>
                <c:pt idx="10">
                  <c:v>9.905450275430215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Gem. gestandaardiseerd inkomen 75 t/m 84</c:v>
                </c:pt>
                <c:pt idx="5">
                  <c:v>Gem. gestandaardiseerd inkomen 85+</c:v>
                </c:pt>
                <c:pt idx="6">
                  <c:v>Huishoudens</c:v>
                </c:pt>
                <c:pt idx="7">
                  <c:v>Uitkeringsont. min bijstandsont.</c:v>
                </c:pt>
                <c:pt idx="8">
                  <c:v>Klantenpotentieel lokaal</c:v>
                </c:pt>
                <c:pt idx="9">
                  <c:v>Wajong</c:v>
                </c:pt>
                <c:pt idx="10">
                  <c:v>Overig</c:v>
                </c:pt>
              </c:strCache>
            </c:strRef>
          </c:cat>
          <c:val>
            <c:numRef>
              <c:f>Sheet1!$B$2:$B$12</c:f>
              <c:numCache>
                <c:formatCode>General</c:formatCode>
                <c:ptCount val="11"/>
                <c:pt idx="0">
                  <c:v>2.6005147972946898</c:v>
                </c:pt>
                <c:pt idx="1">
                  <c:v>1.2798549764000002</c:v>
                </c:pt>
                <c:pt idx="2">
                  <c:v>1.149909515664</c:v>
                </c:pt>
                <c:pt idx="3">
                  <c:v>1.0444118178000001</c:v>
                </c:pt>
                <c:pt idx="4">
                  <c:v>0.50741918400887998</c:v>
                </c:pt>
                <c:pt idx="5">
                  <c:v>0.41080062409963203</c:v>
                </c:pt>
                <c:pt idx="6">
                  <c:v>0.32647352400000001</c:v>
                </c:pt>
                <c:pt idx="7">
                  <c:v>0.32005924703999999</c:v>
                </c:pt>
                <c:pt idx="8">
                  <c:v>0.29102983519999998</c:v>
                </c:pt>
                <c:pt idx="9">
                  <c:v>0.28628085096000006</c:v>
                </c:pt>
                <c:pt idx="10">
                  <c:v>1.67210590296301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1.659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359533782578</c:v>
                </c:pt>
                <c:pt idx="1">
                  <c:v>2.1630843965217603</c:v>
                </c:pt>
                <c:pt idx="2">
                  <c:v>2.26795238016776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8422E-2</c:v>
                </c:pt>
                <c:pt idx="1">
                  <c:v>4.8422E-2</c:v>
                </c:pt>
                <c:pt idx="2">
                  <c:v>4.842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843753782577999</c:v>
                </c:pt>
                <c:pt idx="1">
                  <c:v>2.2115063965217603</c:v>
                </c:pt>
                <c:pt idx="2">
                  <c:v>2.31637438016776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10.87141312073663</c:v>
                </c:pt>
                <c:pt idx="1">
                  <c:v>591.16818707891775</c:v>
                </c:pt>
                <c:pt idx="2">
                  <c:v>619.828472306029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1.581439846926573</c:v>
                </c:pt>
                <c:pt idx="1">
                  <c:v>13.233670401749112</c:v>
                </c:pt>
                <c:pt idx="2">
                  <c:v>13.23367040174911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22.45285296766326</c:v>
                </c:pt>
                <c:pt idx="1">
                  <c:v>604.40185748066688</c:v>
                </c:pt>
                <c:pt idx="2">
                  <c:v>633.0621427077782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619.82847230602908</c:v>
                </c:pt>
                <c:pt idx="2">
                  <c:v>508.10484762042256</c:v>
                </c:pt>
                <c:pt idx="3">
                  <c:v>414.36746980674371</c:v>
                </c:pt>
                <c:pt idx="4">
                  <c:v>396.34118399407998</c:v>
                </c:pt>
                <c:pt idx="5">
                  <c:v>392.61612320271303</c:v>
                </c:pt>
                <c:pt idx="7">
                  <c:v>427.85740615598979</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13.233670401749112</c:v>
                </c:pt>
                <c:pt idx="2">
                  <c:v>6.7806377257011139</c:v>
                </c:pt>
                <c:pt idx="3">
                  <c:v>7.924942263279446</c:v>
                </c:pt>
                <c:pt idx="4">
                  <c:v>7.0853333333333337</c:v>
                </c:pt>
                <c:pt idx="5">
                  <c:v>7.0577311263625351</c:v>
                </c:pt>
                <c:pt idx="7">
                  <c:v>7.2121611121691078</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633.06214270777821</c:v>
                </c:pt>
                <c:pt idx="2">
                  <c:v>514.88548534612357</c:v>
                </c:pt>
                <c:pt idx="3">
                  <c:v>422.2924120700232</c:v>
                </c:pt>
                <c:pt idx="4">
                  <c:v>403.42651732741331</c:v>
                </c:pt>
                <c:pt idx="5">
                  <c:v>399.67385432907554</c:v>
                </c:pt>
                <c:pt idx="7">
                  <c:v>435.06956726815889</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923041823999395</c:v>
                </c:pt>
                <c:pt idx="2">
                  <c:v>2.0923041823999395</c:v>
                </c:pt>
                <c:pt idx="3">
                  <c:v>2.1701397319298583</c:v>
                </c:pt>
                <c:pt idx="4">
                  <c:v>2.2115063965217603</c:v>
                </c:pt>
                <c:pt idx="6">
                  <c:v>2.2108557009943057</c:v>
                </c:pt>
                <c:pt idx="7">
                  <c:v>2.2108557009943057</c:v>
                </c:pt>
                <c:pt idx="8">
                  <c:v>2.2108557009943057</c:v>
                </c:pt>
                <c:pt idx="9">
                  <c:v>2.31637438016776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359533782578</c:v>
                </c:pt>
                <c:pt idx="5">
                  <c:v>2.1630843965217603</c:v>
                </c:pt>
                <c:pt idx="10">
                  <c:v>2.26795238016776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7.7835549529918807E-2</c:v>
                </c:pt>
                <c:pt idx="3">
                  <c:v>4.1366664591901962E-2</c:v>
                </c:pt>
                <c:pt idx="8">
                  <c:v>0.1055186791734547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2071195857860402E-2</c:v>
                </c:pt>
                <c:pt idx="6">
                  <c:v>6.5069552745446505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4.8422E-2</c:v>
                </c:pt>
                <c:pt idx="5">
                  <c:v>4.8422E-2</c:v>
                </c:pt>
                <c:pt idx="10">
                  <c:v>4.842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1843753782577999</c:v>
                </c:pt>
                <c:pt idx="5">
                  <c:v>2.2115063965217603</c:v>
                </c:pt>
                <c:pt idx="10">
                  <c:v>2.31637438016776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and</c:v>
                </c:pt>
                <c:pt idx="2">
                  <c:v>Leerlingen VO</c:v>
                </c:pt>
                <c:pt idx="3">
                  <c:v>Kernen</c:v>
                </c:pt>
                <c:pt idx="4">
                  <c:v>Huishoudens laag inkomen (drempel)</c:v>
                </c:pt>
                <c:pt idx="5">
                  <c:v>Inwoners</c:v>
                </c:pt>
                <c:pt idx="6">
                  <c:v>Omgevingsadressendichtheid</c:v>
                </c:pt>
                <c:pt idx="7">
                  <c:v>Minderheden</c:v>
                </c:pt>
                <c:pt idx="8">
                  <c:v>Binnenwater</c:v>
                </c:pt>
                <c:pt idx="9">
                  <c:v>Klantenpotentieel regionaal</c:v>
                </c:pt>
                <c:pt idx="10">
                  <c:v>Overig</c:v>
                </c:pt>
              </c:strCache>
            </c:strRef>
          </c:cat>
          <c:val>
            <c:numRef>
              <c:f>Sheet1!$B$2:$B$12</c:f>
              <c:numCache>
                <c:formatCode>General</c:formatCode>
                <c:ptCount val="11"/>
                <c:pt idx="0">
                  <c:v>1.0770310408000001</c:v>
                </c:pt>
                <c:pt idx="1">
                  <c:v>0.38576580172000002</c:v>
                </c:pt>
                <c:pt idx="2">
                  <c:v>0.37828228838400002</c:v>
                </c:pt>
                <c:pt idx="3">
                  <c:v>0.17821425699999999</c:v>
                </c:pt>
                <c:pt idx="4">
                  <c:v>0.13456044747599999</c:v>
                </c:pt>
                <c:pt idx="5">
                  <c:v>3.9206161280000006E-2</c:v>
                </c:pt>
                <c:pt idx="6">
                  <c:v>3.573340546776E-2</c:v>
                </c:pt>
                <c:pt idx="7">
                  <c:v>3.1565781000000001E-2</c:v>
                </c:pt>
                <c:pt idx="8">
                  <c:v>6.6509830399999999E-3</c:v>
                </c:pt>
                <c:pt idx="9">
                  <c:v>9.4221400000000003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4.842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3311161116213335</c:v>
                </c:pt>
                <c:pt idx="1">
                  <c:v>0.17064053336429333</c:v>
                </c:pt>
                <c:pt idx="2">
                  <c:v>0.1778275942116266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02</c:v>
                </c:pt>
                <c:pt idx="1">
                  <c:v>2.4289999999999999E-2</c:v>
                </c:pt>
                <c:pt idx="2">
                  <c:v>2.428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5311161116213334</c:v>
                </c:pt>
                <c:pt idx="1">
                  <c:v>0.19493053336429333</c:v>
                </c:pt>
                <c:pt idx="2">
                  <c:v>0.202117594211626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8272091562000004</c:v>
                </c:pt>
                <c:pt idx="1">
                  <c:v>-5.0078374932800003</c:v>
                </c:pt>
                <c:pt idx="2">
                  <c:v>-4.7215174309599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272091562000004</c:v>
                </c:pt>
                <c:pt idx="1">
                  <c:v>-5.0078374932800003</c:v>
                </c:pt>
                <c:pt idx="2">
                  <c:v>-4.7215174309599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658063893655247</c:v>
                </c:pt>
                <c:pt idx="1">
                  <c:v>7.2966960302870669</c:v>
                </c:pt>
                <c:pt idx="2">
                  <c:v>7.60401925133099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85012326787384174</c:v>
                </c:pt>
                <c:pt idx="1">
                  <c:v>1.0386556059180707</c:v>
                </c:pt>
                <c:pt idx="2">
                  <c:v>1.038655605918070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5081871615290883</c:v>
                </c:pt>
                <c:pt idx="1">
                  <c:v>8.3353516362051376</c:v>
                </c:pt>
                <c:pt idx="2">
                  <c:v>8.642674857249067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7.6040192513309961</c:v>
                </c:pt>
                <c:pt idx="2">
                  <c:v>7.5743166817736016</c:v>
                </c:pt>
                <c:pt idx="3">
                  <c:v>7.788118427481745</c:v>
                </c:pt>
                <c:pt idx="4">
                  <c:v>7.7644217966768974</c:v>
                </c:pt>
                <c:pt idx="5">
                  <c:v>8.4210658158425975</c:v>
                </c:pt>
                <c:pt idx="7">
                  <c:v>7.8869806804437097</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1.0386556059180707</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8.6426748572490677</c:v>
                </c:pt>
                <c:pt idx="2">
                  <c:v>7.5743166817736016</c:v>
                </c:pt>
                <c:pt idx="3">
                  <c:v>7.788118427481745</c:v>
                </c:pt>
                <c:pt idx="4">
                  <c:v>7.7644217966768974</c:v>
                </c:pt>
                <c:pt idx="5">
                  <c:v>8.4210658158425975</c:v>
                </c:pt>
                <c:pt idx="7">
                  <c:v>7.8869806804437097</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5028870626851495</c:v>
                </c:pt>
                <c:pt idx="2">
                  <c:v>0.15028870626851495</c:v>
                </c:pt>
                <c:pt idx="3">
                  <c:v>0.18684945455361804</c:v>
                </c:pt>
                <c:pt idx="4">
                  <c:v>0.19064053336429332</c:v>
                </c:pt>
                <c:pt idx="6">
                  <c:v>0.19385193482742777</c:v>
                </c:pt>
                <c:pt idx="7">
                  <c:v>0.19385193482742777</c:v>
                </c:pt>
                <c:pt idx="8">
                  <c:v>0.19385193482742777</c:v>
                </c:pt>
                <c:pt idx="9">
                  <c:v>0.202117594211626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3311161116213335</c:v>
                </c:pt>
                <c:pt idx="5">
                  <c:v>0.17064053336429333</c:v>
                </c:pt>
                <c:pt idx="10">
                  <c:v>0.1778275942116266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6560748285103077E-2</c:v>
                </c:pt>
                <c:pt idx="3">
                  <c:v>3.7910788106752936E-3</c:v>
                </c:pt>
                <c:pt idx="8">
                  <c:v>8.2656593841989433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8229048936183948E-3</c:v>
                </c:pt>
                <c:pt idx="6">
                  <c:v>1.0785985368655777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02</c:v>
                </c:pt>
                <c:pt idx="5">
                  <c:v>2.4289999999999999E-2</c:v>
                </c:pt>
                <c:pt idx="10">
                  <c:v>2.4289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4.2899999999999987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5311161116213334</c:v>
                </c:pt>
                <c:pt idx="5">
                  <c:v>0.19493053336429333</c:v>
                </c:pt>
                <c:pt idx="10">
                  <c:v>0.202117594211626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Omgevingsadressendichtheid</c:v>
                </c:pt>
                <c:pt idx="6">
                  <c:v>Bijstandsontvangers</c:v>
                </c:pt>
                <c:pt idx="7">
                  <c:v>Minderheden</c:v>
                </c:pt>
                <c:pt idx="8">
                  <c:v>Ouderen</c:v>
                </c:pt>
                <c:pt idx="9">
                  <c:v>Klantenpotentieel lokaal</c:v>
                </c:pt>
                <c:pt idx="10">
                  <c:v>Overig</c:v>
                </c:pt>
              </c:strCache>
            </c:strRef>
          </c:cat>
          <c:val>
            <c:numRef>
              <c:f>Sheet1!$B$2:$B$12</c:f>
              <c:numCache>
                <c:formatCode>General</c:formatCode>
                <c:ptCount val="11"/>
                <c:pt idx="0">
                  <c:v>6.0457657000000005E-2</c:v>
                </c:pt>
                <c:pt idx="1">
                  <c:v>2.9027638640000006E-2</c:v>
                </c:pt>
                <c:pt idx="2">
                  <c:v>2.3292410231999999E-2</c:v>
                </c:pt>
                <c:pt idx="3">
                  <c:v>1.0575477640000001E-2</c:v>
                </c:pt>
                <c:pt idx="4">
                  <c:v>8.1850912000000012E-3</c:v>
                </c:pt>
                <c:pt idx="5">
                  <c:v>6.9967507209600013E-3</c:v>
                </c:pt>
                <c:pt idx="6">
                  <c:v>5.6889790533333406E-3</c:v>
                </c:pt>
                <c:pt idx="7">
                  <c:v>5.5362528000000005E-3</c:v>
                </c:pt>
                <c:pt idx="8">
                  <c:v>4.6706088000000008E-3</c:v>
                </c:pt>
                <c:pt idx="9">
                  <c:v>4.3839952E-3</c:v>
                </c:pt>
                <c:pt idx="10">
                  <c:v>1.901273292533331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2.428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2255746337</c:v>
                </c:pt>
                <c:pt idx="1">
                  <c:v>4.336766707819999</c:v>
                </c:pt>
                <c:pt idx="2">
                  <c:v>4.5482432663200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1056000000000003E-2</c:v>
                </c:pt>
                <c:pt idx="1">
                  <c:v>9.9764000000000005E-2</c:v>
                </c:pt>
                <c:pt idx="2">
                  <c:v>0.200390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3066306337000002</c:v>
                </c:pt>
                <c:pt idx="1">
                  <c:v>4.4365307078199994</c:v>
                </c:pt>
                <c:pt idx="2">
                  <c:v>4.7486332663199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194.48572933892075</c:v>
                </c:pt>
                <c:pt idx="2">
                  <c:v>165.02470033489965</c:v>
                </c:pt>
                <c:pt idx="3">
                  <c:v>180.92279063059974</c:v>
                </c:pt>
                <c:pt idx="4">
                  <c:v>193.89876527957722</c:v>
                </c:pt>
                <c:pt idx="5">
                  <c:v>191.6314332339509</c:v>
                </c:pt>
                <c:pt idx="7">
                  <c:v>182.86942236975688</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8.5688018472590439</c:v>
                </c:pt>
                <c:pt idx="2">
                  <c:v>5.0015805211448097</c:v>
                </c:pt>
                <c:pt idx="3">
                  <c:v>4.5595232991812065</c:v>
                </c:pt>
                <c:pt idx="4">
                  <c:v>4.5847255369928401</c:v>
                </c:pt>
                <c:pt idx="5">
                  <c:v>4.8947005601034039</c:v>
                </c:pt>
                <c:pt idx="7">
                  <c:v>4.7601324793555655</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203.05453118617973</c:v>
                </c:pt>
                <c:pt idx="2">
                  <c:v>170.02628085604448</c:v>
                </c:pt>
                <c:pt idx="3">
                  <c:v>185.48231392978096</c:v>
                </c:pt>
                <c:pt idx="4">
                  <c:v>198.48349081657005</c:v>
                </c:pt>
                <c:pt idx="5">
                  <c:v>196.52613379405429</c:v>
                </c:pt>
                <c:pt idx="7">
                  <c:v>187.62955484911245</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2853379006812116</c:v>
                </c:pt>
                <c:pt idx="2">
                  <c:v>4.2853379006812116</c:v>
                </c:pt>
                <c:pt idx="3">
                  <c:v>4.2853379006812116</c:v>
                </c:pt>
                <c:pt idx="4">
                  <c:v>4.4178227078199992</c:v>
                </c:pt>
                <c:pt idx="6">
                  <c:v>4.4363954560410903</c:v>
                </c:pt>
                <c:pt idx="7">
                  <c:v>4.4363954560410903</c:v>
                </c:pt>
                <c:pt idx="8">
                  <c:v>4.4363954560410903</c:v>
                </c:pt>
                <c:pt idx="9">
                  <c:v>4.64800726632000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2255746337</c:v>
                </c:pt>
                <c:pt idx="5">
                  <c:v>4.336766707819999</c:v>
                </c:pt>
                <c:pt idx="10">
                  <c:v>4.5482432663200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13248480713878763</c:v>
                </c:pt>
                <c:pt idx="8">
                  <c:v>0.2116118102789103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1292733018788659E-2</c:v>
                </c:pt>
                <c:pt idx="6">
                  <c:v>1.3525177890926979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1056000000000003E-2</c:v>
                </c:pt>
                <c:pt idx="5">
                  <c:v>9.9764000000000005E-2</c:v>
                </c:pt>
                <c:pt idx="10">
                  <c:v>0.200390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8708000000000002E-2</c:v>
                </c:pt>
                <c:pt idx="9">
                  <c:v>0.1006260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3066306337000002</c:v>
                </c:pt>
                <c:pt idx="5">
                  <c:v>4.4365307078199994</c:v>
                </c:pt>
                <c:pt idx="10">
                  <c:v>4.7486332663199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5">
                  <c:v>Opp. historische kernen 40-64 ha</c:v>
                </c:pt>
                <c:pt idx="10">
                  <c:v>Overig</c:v>
                </c:pt>
              </c:strCache>
            </c:strRef>
          </c:cat>
          <c:val>
            <c:numRef>
              <c:f>Sheet1!$B$2:$B$12</c:f>
              <c:numCache>
                <c:formatCode>General</c:formatCode>
                <c:ptCount val="11"/>
                <c:pt idx="0">
                  <c:v>1.9531453999200004</c:v>
                </c:pt>
                <c:pt idx="1">
                  <c:v>1.3172416088000001</c:v>
                </c:pt>
                <c:pt idx="2">
                  <c:v>1.1465833600000002</c:v>
                </c:pt>
                <c:pt idx="3">
                  <c:v>0.11844976000000002</c:v>
                </c:pt>
                <c:pt idx="4">
                  <c:v>1.2823137599999999E-2</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5.1861411289637</c:v>
                </c:pt>
                <c:pt idx="1">
                  <c:v>-214.13826619686992</c:v>
                </c:pt>
                <c:pt idx="2">
                  <c:v>-201.8950410912511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5.1861411289637</c:v>
                </c:pt>
                <c:pt idx="1">
                  <c:v>-214.13826619686992</c:v>
                </c:pt>
                <c:pt idx="2">
                  <c:v>-201.895041091251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Combinatiefuncties</c:v>
                </c:pt>
                <c:pt idx="1">
                  <c:v>Bibliotheekmiddelen</c:v>
                </c:pt>
                <c:pt idx="2">
                  <c:v>Proeftuinen cultuurprofielen</c:v>
                </c:pt>
              </c:strCache>
            </c:strRef>
          </c:cat>
          <c:val>
            <c:numRef>
              <c:f>Sheet1!$B$2:$B$12</c:f>
              <c:numCache>
                <c:formatCode>General</c:formatCode>
                <c:ptCount val="11"/>
                <c:pt idx="0">
                  <c:v>0.10038999999999999</c:v>
                </c:pt>
                <c:pt idx="1">
                  <c:v>0.1</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4939665598085945</c:v>
                </c:pt>
                <c:pt idx="1">
                  <c:v>9.9958395346044693</c:v>
                </c:pt>
                <c:pt idx="2">
                  <c:v>10.50814091681746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6369000000000006E-2</c:v>
                </c:pt>
                <c:pt idx="1">
                  <c:v>7.6369000000000006E-2</c:v>
                </c:pt>
                <c:pt idx="2">
                  <c:v>7.6369000000000006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5703355598085942</c:v>
                </c:pt>
                <c:pt idx="1">
                  <c:v>10.072208534604469</c:v>
                </c:pt>
                <c:pt idx="2">
                  <c:v>10.58450991681746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03.55209384547288</c:v>
                </c:pt>
                <c:pt idx="1">
                  <c:v>427.42835605081967</c:v>
                </c:pt>
                <c:pt idx="2">
                  <c:v>449.334683862886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246153192212871</c:v>
                </c:pt>
                <c:pt idx="1">
                  <c:v>3.2655862481826734</c:v>
                </c:pt>
                <c:pt idx="2">
                  <c:v>3.265586248182673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06.79824703768577</c:v>
                </c:pt>
                <c:pt idx="1">
                  <c:v>430.69394229900234</c:v>
                </c:pt>
                <c:pt idx="2">
                  <c:v>452.6002701110692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449.33468386288661</c:v>
                </c:pt>
                <c:pt idx="2">
                  <c:v>214.37999365264147</c:v>
                </c:pt>
                <c:pt idx="3">
                  <c:v>233.3042324950504</c:v>
                </c:pt>
                <c:pt idx="4">
                  <c:v>213.4841536422075</c:v>
                </c:pt>
                <c:pt idx="5">
                  <c:v>209.64104106775901</c:v>
                </c:pt>
                <c:pt idx="7">
                  <c:v>217.70235521441461</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3.2655862481826734</c:v>
                </c:pt>
                <c:pt idx="2">
                  <c:v>0.43635198633062794</c:v>
                </c:pt>
                <c:pt idx="3">
                  <c:v>2.2103570969263084</c:v>
                </c:pt>
                <c:pt idx="4">
                  <c:v>0.43534776679168086</c:v>
                </c:pt>
                <c:pt idx="5">
                  <c:v>0</c:v>
                </c:pt>
                <c:pt idx="7">
                  <c:v>0.77051421251215435</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452.60027011106928</c:v>
                </c:pt>
                <c:pt idx="2">
                  <c:v>214.81634563897208</c:v>
                </c:pt>
                <c:pt idx="3">
                  <c:v>235.51458959197674</c:v>
                </c:pt>
                <c:pt idx="4">
                  <c:v>213.91950140899914</c:v>
                </c:pt>
                <c:pt idx="5">
                  <c:v>209.64104106775901</c:v>
                </c:pt>
                <c:pt idx="7">
                  <c:v>218.47286942692676</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9.5703355598085942</c:v>
                </c:pt>
                <c:pt idx="2">
                  <c:v>9.7690426605337919</c:v>
                </c:pt>
                <c:pt idx="3">
                  <c:v>9.7690426605337919</c:v>
                </c:pt>
                <c:pt idx="4">
                  <c:v>10.072208534604471</c:v>
                </c:pt>
                <c:pt idx="6">
                  <c:v>10.072208534604469</c:v>
                </c:pt>
                <c:pt idx="7">
                  <c:v>10.095909374729025</c:v>
                </c:pt>
                <c:pt idx="8">
                  <c:v>10.095909374729025</c:v>
                </c:pt>
                <c:pt idx="9">
                  <c:v>10.58450991681746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9.4939665598085945</c:v>
                </c:pt>
                <c:pt idx="5">
                  <c:v>9.9958395346044693</c:v>
                </c:pt>
                <c:pt idx="10">
                  <c:v>10.50814091681746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0207490472942971</c:v>
                </c:pt>
                <c:pt idx="3">
                  <c:v>0.30316587407067802</c:v>
                </c:pt>
                <c:pt idx="6">
                  <c:v>5.9168292648528957E-2</c:v>
                </c:pt>
                <c:pt idx="8">
                  <c:v>0.4886005420884408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3.367804004233014E-3</c:v>
                </c:pt>
                <c:pt idx="7">
                  <c:v>3.546745252397353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7.6369000000000006E-2</c:v>
                </c:pt>
                <c:pt idx="5">
                  <c:v>7.6369000000000006E-2</c:v>
                </c:pt>
                <c:pt idx="10">
                  <c:v>7.6369000000000006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9.5703355598085942</c:v>
                </c:pt>
                <c:pt idx="5">
                  <c:v>10.072208534604469</c:v>
                </c:pt>
                <c:pt idx="10">
                  <c:v>10.58450991681746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Land</c:v>
                </c:pt>
                <c:pt idx="2">
                  <c:v>Land * bodemfactor gemeente</c:v>
                </c:pt>
                <c:pt idx="3">
                  <c:v>Opp. bebouwing kern *bodemfactor kern</c:v>
                </c:pt>
                <c:pt idx="4">
                  <c:v>Woonruimten * bodemfactor kern</c:v>
                </c:pt>
                <c:pt idx="5">
                  <c:v>Oppervlak bebouwing woonkernen</c:v>
                </c:pt>
                <c:pt idx="6">
                  <c:v>Inwoners</c:v>
                </c:pt>
                <c:pt idx="7">
                  <c:v>Kernen * bodemfactor buiten kom</c:v>
                </c:pt>
                <c:pt idx="8">
                  <c:v>Omgevingsadressendichtheid</c:v>
                </c:pt>
                <c:pt idx="9">
                  <c:v>Oppervlak bebouwing buitengebied</c:v>
                </c:pt>
                <c:pt idx="10">
                  <c:v>Overig</c:v>
                </c:pt>
              </c:strCache>
            </c:strRef>
          </c:cat>
          <c:val>
            <c:numRef>
              <c:f>Sheet1!$B$2:$B$12</c:f>
              <c:numCache>
                <c:formatCode>General</c:formatCode>
                <c:ptCount val="11"/>
                <c:pt idx="0">
                  <c:v>1.6274493435200004</c:v>
                </c:pt>
                <c:pt idx="1">
                  <c:v>1.2628328689600001</c:v>
                </c:pt>
                <c:pt idx="2">
                  <c:v>1.1717400456528</c:v>
                </c:pt>
                <c:pt idx="3">
                  <c:v>1.0312121966328001</c:v>
                </c:pt>
                <c:pt idx="4">
                  <c:v>0.95506346317199986</c:v>
                </c:pt>
                <c:pt idx="5">
                  <c:v>0.74772117055999998</c:v>
                </c:pt>
                <c:pt idx="6">
                  <c:v>0.61523514624000009</c:v>
                </c:pt>
                <c:pt idx="7">
                  <c:v>0.61158739979999999</c:v>
                </c:pt>
                <c:pt idx="8">
                  <c:v>0.48789842080980006</c:v>
                </c:pt>
                <c:pt idx="9">
                  <c:v>0.37176653279999999</c:v>
                </c:pt>
                <c:pt idx="10">
                  <c:v>1.625634328670063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7.6369000000000006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21409227907413</c:v>
                </c:pt>
                <c:pt idx="1">
                  <c:v>-1.410361957984555</c:v>
                </c:pt>
                <c:pt idx="2">
                  <c:v>-1.490380184031405</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321409227907413</c:v>
                </c:pt>
                <c:pt idx="1">
                  <c:v>-1.410361957984555</c:v>
                </c:pt>
                <c:pt idx="2">
                  <c:v>-1.490380184031405</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6.624199727567003</c:v>
                </c:pt>
                <c:pt idx="1">
                  <c:v>-60.307960231957367</c:v>
                </c:pt>
                <c:pt idx="2">
                  <c:v>-63.729589670375653</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6.624199727567003</c:v>
                </c:pt>
                <c:pt idx="1">
                  <c:v>-60.307960231957367</c:v>
                </c:pt>
                <c:pt idx="2">
                  <c:v>-63.729589670375653</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63.729589670375653</c:v>
                </c:pt>
                <c:pt idx="2">
                  <c:v>-37.919349328147398</c:v>
                </c:pt>
                <c:pt idx="3">
                  <c:v>-39.999124642798137</c:v>
                </c:pt>
                <c:pt idx="4">
                  <c:v>-37.558353719957417</c:v>
                </c:pt>
                <c:pt idx="5">
                  <c:v>-37.200587816293556</c:v>
                </c:pt>
                <c:pt idx="7">
                  <c:v>-38.169353876799128</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63.729589670375653</c:v>
                </c:pt>
                <c:pt idx="2">
                  <c:v>-37.919349328147398</c:v>
                </c:pt>
                <c:pt idx="3">
                  <c:v>-39.999124642798137</c:v>
                </c:pt>
                <c:pt idx="4">
                  <c:v>-37.558353719957417</c:v>
                </c:pt>
                <c:pt idx="5">
                  <c:v>-37.200587816293556</c:v>
                </c:pt>
                <c:pt idx="7">
                  <c:v>-38.169353876799128</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201.89504109125116</c:v>
                </c:pt>
                <c:pt idx="2">
                  <c:v>-264.37014473131137</c:v>
                </c:pt>
                <c:pt idx="3">
                  <c:v>-138.82414657178376</c:v>
                </c:pt>
                <c:pt idx="4">
                  <c:v>-156.99379028469141</c:v>
                </c:pt>
                <c:pt idx="5">
                  <c:v>-117.96250352089615</c:v>
                </c:pt>
                <c:pt idx="7">
                  <c:v>-169.53764627717067</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201.89504109125116</c:v>
                </c:pt>
                <c:pt idx="2">
                  <c:v>-264.37014473131137</c:v>
                </c:pt>
                <c:pt idx="3">
                  <c:v>-138.82414657178376</c:v>
                </c:pt>
                <c:pt idx="4">
                  <c:v>-156.99379028469141</c:v>
                </c:pt>
                <c:pt idx="5">
                  <c:v>-117.96250352089615</c:v>
                </c:pt>
                <c:pt idx="7">
                  <c:v>-169.53764627717067</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677381981434953</c:v>
                </c:pt>
                <c:pt idx="2">
                  <c:v>-1.3677381981434953</c:v>
                </c:pt>
                <c:pt idx="3">
                  <c:v>-1.4103619579845548</c:v>
                </c:pt>
                <c:pt idx="4">
                  <c:v>-1.4103619579845548</c:v>
                </c:pt>
                <c:pt idx="6">
                  <c:v>-1.4211086440456957</c:v>
                </c:pt>
                <c:pt idx="7">
                  <c:v>-1.4211086440456957</c:v>
                </c:pt>
                <c:pt idx="8">
                  <c:v>-1.490380184031405</c:v>
                </c:pt>
                <c:pt idx="9">
                  <c:v>-1.4903801840314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321409227907413</c:v>
                </c:pt>
                <c:pt idx="5">
                  <c:v>-1.410361957984555</c:v>
                </c:pt>
                <c:pt idx="10">
                  <c:v>-1.4903801840314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5597275352754136E-2</c:v>
                </c:pt>
                <c:pt idx="3">
                  <c:v>4.2623759841059594E-2</c:v>
                </c:pt>
                <c:pt idx="6">
                  <c:v>1.0746686061140695E-2</c:v>
                </c:pt>
                <c:pt idx="8">
                  <c:v>6.927153998570935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321409227907413</c:v>
                </c:pt>
                <c:pt idx="5">
                  <c:v>-1.410361957984555</c:v>
                </c:pt>
                <c:pt idx="10">
                  <c:v>-1.4903801840314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Land * bodemfactor gemeente</c:v>
                </c:pt>
                <c:pt idx="5">
                  <c:v>Oeverlengte * bodemfactor gemeente</c:v>
                </c:pt>
                <c:pt idx="6">
                  <c:v>Omgevingsadressendichtheid</c:v>
                </c:pt>
                <c:pt idx="7">
                  <c:v>Oeverlengte *dichtheid *bodemf. gem.</c:v>
                </c:pt>
                <c:pt idx="10">
                  <c:v>Overig</c:v>
                </c:pt>
              </c:strCache>
            </c:strRef>
          </c:cat>
          <c:val>
            <c:numRef>
              <c:f>Sheet1!$B$2:$B$12</c:f>
              <c:numCache>
                <c:formatCode>General</c:formatCode>
                <c:ptCount val="11"/>
                <c:pt idx="0">
                  <c:v>-1.8578202151599998</c:v>
                </c:pt>
                <c:pt idx="1">
                  <c:v>0.55372886325120008</c:v>
                </c:pt>
                <c:pt idx="2">
                  <c:v>-0.20620932904</c:v>
                </c:pt>
                <c:pt idx="3">
                  <c:v>-0.13337886276000002</c:v>
                </c:pt>
                <c:pt idx="4">
                  <c:v>6.0007015629600008E-2</c:v>
                </c:pt>
                <c:pt idx="5">
                  <c:v>3.94093745136E-2</c:v>
                </c:pt>
                <c:pt idx="6">
                  <c:v>3.7732477102320007E-2</c:v>
                </c:pt>
                <c:pt idx="7">
                  <c:v>1.615049243187502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804651446252002</c:v>
                </c:pt>
                <c:pt idx="1">
                  <c:v>3.4489308313518396</c:v>
                </c:pt>
                <c:pt idx="2">
                  <c:v>3.63496118330384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804651446252002</c:v>
                </c:pt>
                <c:pt idx="1">
                  <c:v>3.4489308313518396</c:v>
                </c:pt>
                <c:pt idx="2">
                  <c:v>3.63496118330384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9.4399874447505</c:v>
                </c:pt>
                <c:pt idx="1">
                  <c:v>147.47844143298724</c:v>
                </c:pt>
                <c:pt idx="2">
                  <c:v>155.4332157403506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9.4399874447505</c:v>
                </c:pt>
                <c:pt idx="1">
                  <c:v>147.47844143298724</c:v>
                </c:pt>
                <c:pt idx="2">
                  <c:v>155.4332157403506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155.43321574035065</c:v>
                </c:pt>
                <c:pt idx="2">
                  <c:v>78.553532151442965</c:v>
                </c:pt>
                <c:pt idx="3">
                  <c:v>81.570422645552355</c:v>
                </c:pt>
                <c:pt idx="4">
                  <c:v>75.36693916750086</c:v>
                </c:pt>
                <c:pt idx="5">
                  <c:v>72.335711377516574</c:v>
                </c:pt>
                <c:pt idx="7">
                  <c:v>76.956651335503196</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155.43321574035065</c:v>
                </c:pt>
                <c:pt idx="2">
                  <c:v>78.553532151442965</c:v>
                </c:pt>
                <c:pt idx="3">
                  <c:v>81.570422645552355</c:v>
                </c:pt>
                <c:pt idx="4">
                  <c:v>75.36693916750086</c:v>
                </c:pt>
                <c:pt idx="5">
                  <c:v>72.335711377516574</c:v>
                </c:pt>
                <c:pt idx="7">
                  <c:v>76.956651335503196</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2804651446252002</c:v>
                </c:pt>
                <c:pt idx="2">
                  <c:v>3.3442178476655875</c:v>
                </c:pt>
                <c:pt idx="3">
                  <c:v>3.3442178476655875</c:v>
                </c:pt>
                <c:pt idx="4">
                  <c:v>3.4489308313518396</c:v>
                </c:pt>
                <c:pt idx="6">
                  <c:v>3.4489308313518396</c:v>
                </c:pt>
                <c:pt idx="7">
                  <c:v>3.4659161196763182</c:v>
                </c:pt>
                <c:pt idx="8">
                  <c:v>3.4659161196763182</c:v>
                </c:pt>
                <c:pt idx="9">
                  <c:v>3.634961183303840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804651446252002</c:v>
                </c:pt>
                <c:pt idx="5">
                  <c:v>3.4489308313518396</c:v>
                </c:pt>
                <c:pt idx="10">
                  <c:v>3.634961183303840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3752703040387396E-2</c:v>
                </c:pt>
                <c:pt idx="3">
                  <c:v>0.10471298368625204</c:v>
                </c:pt>
                <c:pt idx="6">
                  <c:v>1.6985288324478664E-2</c:v>
                </c:pt>
                <c:pt idx="8">
                  <c:v>0.1690450636275223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804651446252002</c:v>
                </c:pt>
                <c:pt idx="5">
                  <c:v>3.4489308313518396</c:v>
                </c:pt>
                <c:pt idx="10">
                  <c:v>3.634961183303840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Land</c:v>
                </c:pt>
                <c:pt idx="4">
                  <c:v>Omgevingsadressendichtheid</c:v>
                </c:pt>
                <c:pt idx="5">
                  <c:v>Kernen</c:v>
                </c:pt>
                <c:pt idx="6">
                  <c:v>Opp. bebouwing totaal</c:v>
                </c:pt>
                <c:pt idx="7">
                  <c:v>Huishoudens laag inkomen (drempel)</c:v>
                </c:pt>
                <c:pt idx="8">
                  <c:v>Minderheden</c:v>
                </c:pt>
                <c:pt idx="9">
                  <c:v>Buitenwater</c:v>
                </c:pt>
                <c:pt idx="10">
                  <c:v>Overig</c:v>
                </c:pt>
              </c:strCache>
            </c:strRef>
          </c:cat>
          <c:val>
            <c:numRef>
              <c:f>Sheet1!$B$2:$B$12</c:f>
              <c:numCache>
                <c:formatCode>General</c:formatCode>
                <c:ptCount val="11"/>
                <c:pt idx="0">
                  <c:v>1.7084140746400001</c:v>
                </c:pt>
                <c:pt idx="1">
                  <c:v>0.89495660799999999</c:v>
                </c:pt>
                <c:pt idx="2">
                  <c:v>0.26258190722400004</c:v>
                </c:pt>
                <c:pt idx="3">
                  <c:v>0.21511271132000004</c:v>
                </c:pt>
                <c:pt idx="4">
                  <c:v>0.16542317775984</c:v>
                </c:pt>
                <c:pt idx="5">
                  <c:v>0.12668063200000002</c:v>
                </c:pt>
                <c:pt idx="6">
                  <c:v>6.672983616E-2</c:v>
                </c:pt>
                <c:pt idx="7">
                  <c:v>4.419750972E-2</c:v>
                </c:pt>
                <c:pt idx="8">
                  <c:v>3.7748365200000002E-2</c:v>
                </c:pt>
                <c:pt idx="9">
                  <c:v>2.9453561280000005E-2</c:v>
                </c:pt>
                <c:pt idx="10">
                  <c:v>8.366280000000081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9418083711815006</c:v>
                </c:pt>
                <c:pt idx="1">
                  <c:v>3.0623285144548</c:v>
                </c:pt>
                <c:pt idx="2">
                  <c:v>3.219259811879801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7.7780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418083711815006</c:v>
                </c:pt>
                <c:pt idx="1">
                  <c:v>3.0623285144548</c:v>
                </c:pt>
                <c:pt idx="2">
                  <c:v>3.297039811879801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5.04498729837204</c:v>
                </c:pt>
                <c:pt idx="1">
                  <c:v>130.94708434340205</c:v>
                </c:pt>
                <c:pt idx="2">
                  <c:v>137.657564862729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325921491490635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5.04498729837204</c:v>
                </c:pt>
                <c:pt idx="1">
                  <c:v>130.94708434340205</c:v>
                </c:pt>
                <c:pt idx="2">
                  <c:v>140.9834863542205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001830522524096</c:v>
                </c:pt>
                <c:pt idx="2">
                  <c:v>-5.001830522524096</c:v>
                </c:pt>
                <c:pt idx="3">
                  <c:v>-5.0078374932800003</c:v>
                </c:pt>
                <c:pt idx="4">
                  <c:v>-5.0078374932800003</c:v>
                </c:pt>
                <c:pt idx="6">
                  <c:v>-5.0329090736746744</c:v>
                </c:pt>
                <c:pt idx="7">
                  <c:v>-5.0329090736746744</c:v>
                </c:pt>
                <c:pt idx="8">
                  <c:v>-4.7215174309599997</c:v>
                </c:pt>
                <c:pt idx="9">
                  <c:v>-4.7215174309599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8272091562000004</c:v>
                </c:pt>
                <c:pt idx="5">
                  <c:v>-5.0078374932800003</c:v>
                </c:pt>
                <c:pt idx="10">
                  <c:v>-4.7215174309599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7.7893069699630391E-2</c:v>
                </c:pt>
                <c:pt idx="7">
                  <c:v>1.237279071485321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7462136632409542</c:v>
                </c:pt>
                <c:pt idx="3">
                  <c:v>8.3900040455534883E-2</c:v>
                </c:pt>
                <c:pt idx="6">
                  <c:v>2.5071580394674275E-2</c:v>
                </c:pt>
                <c:pt idx="8">
                  <c:v>0.9258874287706465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8272091562000004</c:v>
                </c:pt>
                <c:pt idx="5">
                  <c:v>-5.0078374932800003</c:v>
                </c:pt>
                <c:pt idx="10">
                  <c:v>-4.7215174309599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C$2:$C$10</c:f>
              <c:numCache>
                <c:formatCode>General</c:formatCode>
                <c:ptCount val="9"/>
                <c:pt idx="0">
                  <c:v>137.65756486272988</c:v>
                </c:pt>
                <c:pt idx="2">
                  <c:v>120.80238107759934</c:v>
                </c:pt>
                <c:pt idx="3">
                  <c:v>118.91265788982727</c:v>
                </c:pt>
                <c:pt idx="4">
                  <c:v>117.05887812725027</c:v>
                </c:pt>
                <c:pt idx="5">
                  <c:v>115.47513171887979</c:v>
                </c:pt>
                <c:pt idx="7">
                  <c:v>118.06226220338917</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D$2:$D$10</c:f>
              <c:numCache>
                <c:formatCode>General</c:formatCode>
                <c:ptCount val="9"/>
                <c:pt idx="0">
                  <c:v>3.3259214914906354</c:v>
                </c:pt>
                <c:pt idx="2">
                  <c:v>3.322511747116617</c:v>
                </c:pt>
                <c:pt idx="3">
                  <c:v>3.334333604835598</c:v>
                </c:pt>
                <c:pt idx="4">
                  <c:v>3.3148653256051825</c:v>
                </c:pt>
                <c:pt idx="5">
                  <c:v>3.3511417492460147</c:v>
                </c:pt>
                <c:pt idx="7">
                  <c:v>3.3307131067008533</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uis</c:v>
                </c:pt>
                <c:pt idx="2">
                  <c:v>Bloemendaal</c:v>
                </c:pt>
                <c:pt idx="3">
                  <c:v>Loon op Zand</c:v>
                </c:pt>
                <c:pt idx="4">
                  <c:v>Heiloo</c:v>
                </c:pt>
                <c:pt idx="5">
                  <c:v>Borne</c:v>
                </c:pt>
                <c:pt idx="7">
                  <c:v>4 gemeenten</c:v>
                </c:pt>
                <c:pt idx="8">
                  <c:v>Landelijk</c:v>
                </c:pt>
              </c:strCache>
            </c:strRef>
          </c:cat>
          <c:val>
            <c:numRef>
              <c:f>Sheet1!$B$2:$B$10</c:f>
              <c:numCache>
                <c:formatCode>General</c:formatCode>
                <c:ptCount val="9"/>
                <c:pt idx="0">
                  <c:v>140.98348635422053</c:v>
                </c:pt>
                <c:pt idx="2">
                  <c:v>124.12489282471594</c:v>
                </c:pt>
                <c:pt idx="3">
                  <c:v>122.24699149466286</c:v>
                </c:pt>
                <c:pt idx="4">
                  <c:v>120.37374345285546</c:v>
                </c:pt>
                <c:pt idx="5">
                  <c:v>118.82627346812582</c:v>
                </c:pt>
                <c:pt idx="7">
                  <c:v>121.39297531009002</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9418083711815006</c:v>
                </c:pt>
                <c:pt idx="2">
                  <c:v>2.9586906110940019</c:v>
                </c:pt>
                <c:pt idx="3">
                  <c:v>2.9689230396797095</c:v>
                </c:pt>
                <c:pt idx="4">
                  <c:v>3.0623285144548</c:v>
                </c:pt>
                <c:pt idx="6">
                  <c:v>3.0623285144548</c:v>
                </c:pt>
                <c:pt idx="7">
                  <c:v>3.0694962938342454</c:v>
                </c:pt>
                <c:pt idx="8">
                  <c:v>3.0694962938342454</c:v>
                </c:pt>
                <c:pt idx="9">
                  <c:v>3.219259811879801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9418083711815006</c:v>
                </c:pt>
                <c:pt idx="5">
                  <c:v>3.0623285144548</c:v>
                </c:pt>
                <c:pt idx="10">
                  <c:v>3.219259811879801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6882239912501422E-2</c:v>
                </c:pt>
                <c:pt idx="2">
                  <c:v>1.0232428585707621E-2</c:v>
                </c:pt>
                <c:pt idx="3">
                  <c:v>9.3405474775090369E-2</c:v>
                </c:pt>
                <c:pt idx="6">
                  <c:v>8.2485111701096243E-3</c:v>
                </c:pt>
                <c:pt idx="8">
                  <c:v>0.1497635180455558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080731790664266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7.7780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7.7780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9418083711815006</c:v>
                </c:pt>
                <c:pt idx="5">
                  <c:v>3.0623285144548</c:v>
                </c:pt>
                <c:pt idx="10">
                  <c:v>3.297039811879801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Land</c:v>
                </c:pt>
                <c:pt idx="4">
                  <c:v>Omgevingsadressendichtheid</c:v>
                </c:pt>
                <c:pt idx="5">
                  <c:v>Bewoonde oorden 1930</c:v>
                </c:pt>
                <c:pt idx="6">
                  <c:v>Klantenpotentieel regionaal</c:v>
                </c:pt>
                <c:pt idx="7">
                  <c:v>Bedrijfsvestigingen</c:v>
                </c:pt>
                <c:pt idx="8">
                  <c:v>Minderheden</c:v>
                </c:pt>
                <c:pt idx="9">
                  <c:v>Minderheden (drempel)</c:v>
                </c:pt>
                <c:pt idx="10">
                  <c:v>Overig</c:v>
                </c:pt>
              </c:strCache>
            </c:strRef>
          </c:cat>
          <c:val>
            <c:numRef>
              <c:f>Sheet1!$B$2:$B$12</c:f>
              <c:numCache>
                <c:formatCode>General</c:formatCode>
                <c:ptCount val="11"/>
                <c:pt idx="0">
                  <c:v>1.9237407789600003</c:v>
                </c:pt>
                <c:pt idx="1">
                  <c:v>0.96400453240000017</c:v>
                </c:pt>
                <c:pt idx="2">
                  <c:v>0.28248488112000003</c:v>
                </c:pt>
                <c:pt idx="3">
                  <c:v>4.5357795080000006E-2</c:v>
                </c:pt>
                <c:pt idx="4">
                  <c:v>-4.310498212020001E-2</c:v>
                </c:pt>
                <c:pt idx="5">
                  <c:v>3.5816318720000004E-2</c:v>
                </c:pt>
                <c:pt idx="6">
                  <c:v>-3.5265724000000005E-2</c:v>
                </c:pt>
                <c:pt idx="7">
                  <c:v>3.2542266120000003E-2</c:v>
                </c:pt>
                <c:pt idx="8">
                  <c:v>1.368394560000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7.7780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2.8365311999999996</c:v>
                </c:pt>
                <c:pt idx="1">
                  <c:v>-0.77877586696000001</c:v>
                </c:pt>
                <c:pt idx="2">
                  <c:v>-0.61239560200000009</c:v>
                </c:pt>
                <c:pt idx="3">
                  <c:v>-0.55017834200000004</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526512486531345</c:v>
                </c:pt>
                <c:pt idx="1">
                  <c:v>2.3624551689232187</c:v>
                </c:pt>
                <c:pt idx="2">
                  <c:v>2.344809689829361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0936999999999995E-2</c:v>
                </c:pt>
                <c:pt idx="1">
                  <c:v>2.3262139999999998</c:v>
                </c:pt>
                <c:pt idx="2">
                  <c:v>2.179177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335882486531346</c:v>
                </c:pt>
                <c:pt idx="1">
                  <c:v>4.6886691689232185</c:v>
                </c:pt>
                <c:pt idx="2">
                  <c:v>4.52398768982936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9.487582780376606</cx:pt>
          <cx:pt idx="1">-4.7215174309599997</cx:pt>
          <cx:pt idx="2">34.766065349416607</cx:pt>
          <cx:pt idx="3">4.1445989999999995</cx:pt>
          <cx:pt idx="4">38.910664349416606</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Sluis</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uis is ca. 39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36991916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8,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4,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9,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uis is ca. 39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632959540"/>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2945784708"/>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2047072391"/>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37550033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5,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uis is ca. 39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2093170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2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9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5,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Sluis ca. 1.664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52583567"/>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luis</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6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5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405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6643467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58409327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2613352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2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7910700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6939057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731345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07493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2602578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336397161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48749108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3171972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31229351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182344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3278304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9816607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7213355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3100757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93042726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2400162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29634900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4295724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85697969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8707866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017444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3815298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13226008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4916139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82472388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36921412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7519193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44678657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5295917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40687621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9838084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1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65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65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2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7858902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8018109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5853157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0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3153790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68369985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3725779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781567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7660004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563201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39645198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34987618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11344719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9888999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8862674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2778070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4784701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9,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2540512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789333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4094323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47750489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4464032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9964913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1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65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65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9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1949180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988930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22773943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5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33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0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9178614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13844748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3544515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6821979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0222157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72361021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13662264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85067479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50582862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7913199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2804441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0459679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374715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690802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9334998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8909666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15499754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8831696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6068504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14484087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2227396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536953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169411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7961602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5205683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eftuinen cultuurprofi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0216426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6217666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95010103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8733632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3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1555514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8972330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7833717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860293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0228925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buitengebie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20091542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24490143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131938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3126495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91743505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65249558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6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4293217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54039033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46333214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7154473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4534854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9852108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4678352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1604365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5110702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4539846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371724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8231494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Sluis,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191749989"/>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8,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4013962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24170445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2387824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3270197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5796867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60266625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85814970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3589748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5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3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42388959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7166080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85654079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32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4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2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4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39347664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663644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8079564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87284477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4672739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uis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579474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5,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Sluis is ca. 39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60492896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2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9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66</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Sluis ca. 1.664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2566787426"/>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Sluis</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3.38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Bloemendaal</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41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Loon Op Zand</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32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Heiloo</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46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orn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21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4837879"/>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luis</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6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5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405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uis</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2833969858"/>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222980088"/>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3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3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Sluis,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23</Words>
  <Application>Microsoft Office PowerPoint</Application>
  <PresentationFormat>Widescreen</PresentationFormat>
  <Paragraphs>2188</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Sluis is ca. 39 mln (1/3)</vt:lpstr>
      <vt:lpstr>Totale uitkering voor Sluis is ca. 39 mln (2/3)</vt:lpstr>
      <vt:lpstr>Totale uitkering voor Sluis is ca. 39 mln (3/3)</vt:lpstr>
      <vt:lpstr>Per inwoner ontvangt Sluis ca. 1.664 euro</vt:lpstr>
      <vt:lpstr>Dit is ca. 405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Sluis is ca. 39 mln</vt:lpstr>
      <vt:lpstr>Per inwoner ontvangt Sluis ca. 1.664 euro</vt:lpstr>
      <vt:lpstr>Dit is ca. €405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8:55:33Z</dcterms:modified>
</cp:coreProperties>
</file>